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2" r:id="rId1"/>
  </p:sldMasterIdLst>
  <p:notesMasterIdLst>
    <p:notesMasterId r:id="rId24"/>
  </p:notesMasterIdLst>
  <p:sldIdLst>
    <p:sldId id="307" r:id="rId2"/>
    <p:sldId id="308" r:id="rId3"/>
    <p:sldId id="309" r:id="rId4"/>
    <p:sldId id="310" r:id="rId5"/>
    <p:sldId id="311" r:id="rId6"/>
    <p:sldId id="312" r:id="rId7"/>
    <p:sldId id="313" r:id="rId8"/>
    <p:sldId id="314" r:id="rId9"/>
    <p:sldId id="315" r:id="rId10"/>
    <p:sldId id="316" r:id="rId11"/>
    <p:sldId id="317" r:id="rId12"/>
    <p:sldId id="318" r:id="rId13"/>
    <p:sldId id="319" r:id="rId14"/>
    <p:sldId id="320" r:id="rId15"/>
    <p:sldId id="321" r:id="rId16"/>
    <p:sldId id="322" r:id="rId17"/>
    <p:sldId id="323" r:id="rId18"/>
    <p:sldId id="324" r:id="rId19"/>
    <p:sldId id="325" r:id="rId20"/>
    <p:sldId id="326" r:id="rId21"/>
    <p:sldId id="327" r:id="rId22"/>
    <p:sldId id="328" r:id="rId23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felein Maximilian, SF5-CN-V-23" initials="BMS" lastIdx="4" clrIdx="0">
    <p:extLst>
      <p:ext uri="{19B8F6BF-5375-455C-9EA6-DF929625EA0E}">
        <p15:presenceInfo xmlns:p15="http://schemas.microsoft.com/office/powerpoint/2012/main" userId="S-1-5-21-3402732107-103683034-2188813700-45119" providerId="AD"/>
      </p:ext>
    </p:extLst>
  </p:cmAuthor>
  <p:cmAuthor id="2" name="Krishnan Purushothaman, BBS-82" initials="KPB" lastIdx="3" clrIdx="1">
    <p:extLst>
      <p:ext uri="{19B8F6BF-5375-455C-9EA6-DF929625EA0E}">
        <p15:presenceInfo xmlns:p15="http://schemas.microsoft.com/office/powerpoint/2012/main" userId="S-1-5-21-1417001333-1972579041-725345543-66721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A9EAA"/>
    <a:srgbClr val="E5D2C4"/>
    <a:srgbClr val="F1DCC7"/>
    <a:srgbClr val="F5E1C8"/>
    <a:srgbClr val="FCF1D1"/>
    <a:srgbClr val="FAF9DB"/>
    <a:srgbClr val="BFBFBF"/>
    <a:srgbClr val="DEE3EA"/>
    <a:srgbClr val="BEC6D6"/>
    <a:srgbClr val="9DAA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530" autoAdjust="0"/>
    <p:restoredTop sz="94660"/>
  </p:normalViewPr>
  <p:slideViewPr>
    <p:cSldViewPr snapToGrid="0" showGuides="1">
      <p:cViewPr>
        <p:scale>
          <a:sx n="100" d="100"/>
          <a:sy n="100" d="100"/>
        </p:scale>
        <p:origin x="1164" y="3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23DC7E-545F-4537-850F-CC5C2B410559}" type="datetimeFigureOut">
              <a:rPr lang="de-DE" smtClean="0"/>
              <a:pPr/>
              <a:t>08.10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Textmasterformat bearbeiten</a:t>
            </a:r>
          </a:p>
          <a:p>
            <a:pPr marL="360000" lvl="1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Zweite Ebene</a:t>
            </a:r>
          </a:p>
          <a:p>
            <a:pPr marL="540000" lvl="2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Dritte Ebene</a:t>
            </a:r>
          </a:p>
          <a:p>
            <a:pPr marL="720000" lvl="3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Vierte Ebene</a:t>
            </a:r>
          </a:p>
          <a:p>
            <a:pPr marL="900000" lvl="4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7A725A-9256-4EC5-8CDB-4CC5D97770D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0249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600" kern="1200" dirty="0">
        <a:solidFill>
          <a:srgbClr val="343434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6"/>
          <p:cNvSpPr>
            <a:spLocks noGrp="1"/>
          </p:cNvSpPr>
          <p:nvPr>
            <p:ph type="pic" sz="quarter" idx="19"/>
          </p:nvPr>
        </p:nvSpPr>
        <p:spPr>
          <a:xfrm>
            <a:off x="-9843" y="-6669"/>
            <a:ext cx="12204066" cy="6868059"/>
          </a:xfrm>
          <a:custGeom>
            <a:avLst/>
            <a:gdLst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0 w 9144000"/>
              <a:gd name="connsiteY6" fmla="*/ 5159495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190500 w 9144000"/>
              <a:gd name="connsiteY6" fmla="*/ 4493539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3891 w 9144000"/>
              <a:gd name="connsiteY5" fmla="*/ 562818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71516 w 9144000"/>
              <a:gd name="connsiteY5" fmla="*/ 5818461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19166 w 9144000"/>
              <a:gd name="connsiteY5" fmla="*/ 5847002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00116 w 9144000"/>
              <a:gd name="connsiteY5" fmla="*/ 5942139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894012 w 9144000"/>
              <a:gd name="connsiteY3" fmla="*/ 6818497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18497"/>
              <a:gd name="connsiteX1" fmla="*/ 9144000 w 9144000"/>
              <a:gd name="connsiteY1" fmla="*/ 0 h 6818497"/>
              <a:gd name="connsiteX2" fmla="*/ 9144000 w 9144000"/>
              <a:gd name="connsiteY2" fmla="*/ 4928377 h 6818497"/>
              <a:gd name="connsiteX3" fmla="*/ 3894012 w 9144000"/>
              <a:gd name="connsiteY3" fmla="*/ 6818497 h 6818497"/>
              <a:gd name="connsiteX4" fmla="*/ 3701776 w 9144000"/>
              <a:gd name="connsiteY4" fmla="*/ 6702094 h 6818497"/>
              <a:gd name="connsiteX5" fmla="*/ 6022210 w 9144000"/>
              <a:gd name="connsiteY5" fmla="*/ 5928708 h 6818497"/>
              <a:gd name="connsiteX6" fmla="*/ 9525 w 9144000"/>
              <a:gd name="connsiteY6" fmla="*/ 4769436 h 6818497"/>
              <a:gd name="connsiteX7" fmla="*/ 0 w 9144000"/>
              <a:gd name="connsiteY7" fmla="*/ 0 h 6818497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928377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842754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47039"/>
              <a:gd name="connsiteX1" fmla="*/ 9144000 w 9144000"/>
              <a:gd name="connsiteY1" fmla="*/ 28541 h 6847039"/>
              <a:gd name="connsiteX2" fmla="*/ 9144000 w 9144000"/>
              <a:gd name="connsiteY2" fmla="*/ 4871295 h 6847039"/>
              <a:gd name="connsiteX3" fmla="*/ 3894012 w 9144000"/>
              <a:gd name="connsiteY3" fmla="*/ 6847038 h 6847039"/>
              <a:gd name="connsiteX4" fmla="*/ 3688329 w 9144000"/>
              <a:gd name="connsiteY4" fmla="*/ 6847039 h 6847039"/>
              <a:gd name="connsiteX5" fmla="*/ 6022210 w 9144000"/>
              <a:gd name="connsiteY5" fmla="*/ 5957249 h 6847039"/>
              <a:gd name="connsiteX6" fmla="*/ 9525 w 9144000"/>
              <a:gd name="connsiteY6" fmla="*/ 4797977 h 6847039"/>
              <a:gd name="connsiteX7" fmla="*/ 0 w 9144000"/>
              <a:gd name="connsiteY7" fmla="*/ 0 h 6847039"/>
              <a:gd name="connsiteX0" fmla="*/ 0 w 9144000"/>
              <a:gd name="connsiteY0" fmla="*/ 9514 h 6856553"/>
              <a:gd name="connsiteX1" fmla="*/ 9134475 w 9144000"/>
              <a:gd name="connsiteY1" fmla="*/ 0 h 6856553"/>
              <a:gd name="connsiteX2" fmla="*/ 9144000 w 9144000"/>
              <a:gd name="connsiteY2" fmla="*/ 4880809 h 6856553"/>
              <a:gd name="connsiteX3" fmla="*/ 3894012 w 9144000"/>
              <a:gd name="connsiteY3" fmla="*/ 6856552 h 6856553"/>
              <a:gd name="connsiteX4" fmla="*/ 3688329 w 9144000"/>
              <a:gd name="connsiteY4" fmla="*/ 6856553 h 6856553"/>
              <a:gd name="connsiteX5" fmla="*/ 6022210 w 9144000"/>
              <a:gd name="connsiteY5" fmla="*/ 5966763 h 6856553"/>
              <a:gd name="connsiteX6" fmla="*/ 9525 w 9144000"/>
              <a:gd name="connsiteY6" fmla="*/ 4807491 h 6856553"/>
              <a:gd name="connsiteX7" fmla="*/ 0 w 9144000"/>
              <a:gd name="connsiteY7" fmla="*/ 9514 h 6856553"/>
              <a:gd name="connsiteX0" fmla="*/ 3810 w 9147810"/>
              <a:gd name="connsiteY0" fmla="*/ 9514 h 6856553"/>
              <a:gd name="connsiteX1" fmla="*/ 9138285 w 9147810"/>
              <a:gd name="connsiteY1" fmla="*/ 0 h 6856553"/>
              <a:gd name="connsiteX2" fmla="*/ 9147810 w 9147810"/>
              <a:gd name="connsiteY2" fmla="*/ 4880809 h 6856553"/>
              <a:gd name="connsiteX3" fmla="*/ 3897822 w 9147810"/>
              <a:gd name="connsiteY3" fmla="*/ 6856552 h 6856553"/>
              <a:gd name="connsiteX4" fmla="*/ 3692139 w 9147810"/>
              <a:gd name="connsiteY4" fmla="*/ 6856553 h 6856553"/>
              <a:gd name="connsiteX5" fmla="*/ 6026020 w 9147810"/>
              <a:gd name="connsiteY5" fmla="*/ 5966763 h 6856553"/>
              <a:gd name="connsiteX6" fmla="*/ 0 w 9147810"/>
              <a:gd name="connsiteY6" fmla="*/ 4807491 h 6856553"/>
              <a:gd name="connsiteX7" fmla="*/ 3810 w 9147810"/>
              <a:gd name="connsiteY7" fmla="*/ 9514 h 6856553"/>
              <a:gd name="connsiteX0" fmla="*/ 3810 w 9147810"/>
              <a:gd name="connsiteY0" fmla="*/ 11417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11417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83046 w 9147810"/>
              <a:gd name="connsiteY5" fmla="*/ 638141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099333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120115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58456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62262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59600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61979 h 6862262"/>
              <a:gd name="connsiteX7" fmla="*/ 3810 w 9147810"/>
              <a:gd name="connsiteY7" fmla="*/ 3806 h 6862262"/>
              <a:gd name="connsiteX0" fmla="*/ 3810 w 9147810"/>
              <a:gd name="connsiteY0" fmla="*/ 3806 h 6858975"/>
              <a:gd name="connsiteX1" fmla="*/ 9145905 w 9147810"/>
              <a:gd name="connsiteY1" fmla="*/ 0 h 6858975"/>
              <a:gd name="connsiteX2" fmla="*/ 9147810 w 9147810"/>
              <a:gd name="connsiteY2" fmla="*/ 4615799 h 6858975"/>
              <a:gd name="connsiteX3" fmla="*/ 4300470 w 9147810"/>
              <a:gd name="connsiteY3" fmla="*/ 6858975 h 6858975"/>
              <a:gd name="connsiteX4" fmla="*/ 4186195 w 9147810"/>
              <a:gd name="connsiteY4" fmla="*/ 6855127 h 6858975"/>
              <a:gd name="connsiteX5" fmla="*/ 5175076 w 9147810"/>
              <a:gd name="connsiteY5" fmla="*/ 6398063 h 6858975"/>
              <a:gd name="connsiteX6" fmla="*/ 0 w 9147810"/>
              <a:gd name="connsiteY6" fmla="*/ 4961979 h 6858975"/>
              <a:gd name="connsiteX7" fmla="*/ 3810 w 9147810"/>
              <a:gd name="connsiteY7" fmla="*/ 3806 h 6858975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300470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80435 w 9147810"/>
              <a:gd name="connsiteY5" fmla="*/ 6395685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80838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2024 w 9146024"/>
              <a:gd name="connsiteY0" fmla="*/ 3806 h 6859884"/>
              <a:gd name="connsiteX1" fmla="*/ 9144119 w 9146024"/>
              <a:gd name="connsiteY1" fmla="*/ 0 h 6859884"/>
              <a:gd name="connsiteX2" fmla="*/ 9146024 w 9146024"/>
              <a:gd name="connsiteY2" fmla="*/ 4615799 h 6859884"/>
              <a:gd name="connsiteX3" fmla="*/ 4284397 w 9146024"/>
              <a:gd name="connsiteY3" fmla="*/ 6858975 h 6859884"/>
              <a:gd name="connsiteX4" fmla="*/ 4173694 w 9146024"/>
              <a:gd name="connsiteY4" fmla="*/ 6859884 h 6859884"/>
              <a:gd name="connsiteX5" fmla="*/ 5176863 w 9146024"/>
              <a:gd name="connsiteY5" fmla="*/ 6398063 h 6859884"/>
              <a:gd name="connsiteX6" fmla="*/ 0 w 9146024"/>
              <a:gd name="connsiteY6" fmla="*/ 4961980 h 6859884"/>
              <a:gd name="connsiteX7" fmla="*/ 2024 w 9146024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59602 h 6859884"/>
              <a:gd name="connsiteX7" fmla="*/ 3810 w 9147810"/>
              <a:gd name="connsiteY7" fmla="*/ 3806 h 6859884"/>
              <a:gd name="connsiteX0" fmla="*/ 7382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7382 w 9151382"/>
              <a:gd name="connsiteY7" fmla="*/ 3806 h 6859884"/>
              <a:gd name="connsiteX0" fmla="*/ 2024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2024 w 9151382"/>
              <a:gd name="connsiteY7" fmla="*/ 3806 h 6859884"/>
              <a:gd name="connsiteX0" fmla="*/ 2024 w 9153049"/>
              <a:gd name="connsiteY0" fmla="*/ 3806 h 6859884"/>
              <a:gd name="connsiteX1" fmla="*/ 9153049 w 9153049"/>
              <a:gd name="connsiteY1" fmla="*/ 0 h 6859884"/>
              <a:gd name="connsiteX2" fmla="*/ 9151382 w 9153049"/>
              <a:gd name="connsiteY2" fmla="*/ 4615799 h 6859884"/>
              <a:gd name="connsiteX3" fmla="*/ 4289755 w 9153049"/>
              <a:gd name="connsiteY3" fmla="*/ 6858975 h 6859884"/>
              <a:gd name="connsiteX4" fmla="*/ 4179052 w 9153049"/>
              <a:gd name="connsiteY4" fmla="*/ 6859884 h 6859884"/>
              <a:gd name="connsiteX5" fmla="*/ 5182221 w 9153049"/>
              <a:gd name="connsiteY5" fmla="*/ 6398063 h 6859884"/>
              <a:gd name="connsiteX6" fmla="*/ 0 w 9153049"/>
              <a:gd name="connsiteY6" fmla="*/ 4961982 h 6859884"/>
              <a:gd name="connsiteX7" fmla="*/ 2024 w 9153049"/>
              <a:gd name="connsiteY7" fmla="*/ 3806 h 685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53049" h="6859884">
                <a:moveTo>
                  <a:pt x="2024" y="3806"/>
                </a:moveTo>
                <a:lnTo>
                  <a:pt x="9153049" y="0"/>
                </a:lnTo>
                <a:cubicBezTo>
                  <a:pt x="9152493" y="1538600"/>
                  <a:pt x="9151938" y="3077199"/>
                  <a:pt x="9151382" y="4615799"/>
                </a:cubicBezTo>
                <a:lnTo>
                  <a:pt x="4289755" y="6858975"/>
                </a:lnTo>
                <a:lnTo>
                  <a:pt x="4179052" y="6859884"/>
                </a:lnTo>
                <a:lnTo>
                  <a:pt x="5182221" y="6398063"/>
                </a:lnTo>
                <a:lnTo>
                  <a:pt x="0" y="4961982"/>
                </a:lnTo>
                <a:cubicBezTo>
                  <a:pt x="0" y="3242150"/>
                  <a:pt x="2024" y="1723638"/>
                  <a:pt x="2024" y="3806"/>
                </a:cubicBezTo>
                <a:close/>
              </a:path>
            </a:pathLst>
          </a:cu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square" tIns="540000" bIns="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pic>
        <p:nvPicPr>
          <p:cNvPr id="10" name="Bild 8" descr="BMWMINIRR_5fbg Kopie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870" y="6137292"/>
            <a:ext cx="1724211" cy="36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269622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4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</a:t>
            </a:r>
            <a:br>
              <a:rPr lang="en-US" noProof="0" dirty="0"/>
            </a:br>
            <a:r>
              <a:rPr lang="en-US" noProof="0" dirty="0"/>
              <a:t>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1386804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None/>
              <a:defRPr sz="2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sp>
        <p:nvSpPr>
          <p:cNvPr id="18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92111" y="5431512"/>
            <a:ext cx="1620000" cy="3194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  <a:defRPr lang="de-DE" sz="1100" b="1" i="0" baseline="0" dirty="0" smtClean="0">
                <a:latin typeface="BMW Group Condensed Bold"/>
                <a:ea typeface="BMW Type Global Pro Regular" pitchFamily="2" charset="0"/>
                <a:cs typeface="BMW Group Condensed Bold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r>
              <a:rPr lang="de-DE" dirty="0"/>
              <a:t>Department | Date</a:t>
            </a:r>
          </a:p>
        </p:txBody>
      </p:sp>
      <p:pic>
        <p:nvPicPr>
          <p:cNvPr id="21" name="Bild 7" descr="WortmarkeBMWGROUP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10" y="5927742"/>
            <a:ext cx="757731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252" y="5927742"/>
            <a:ext cx="1154481" cy="360000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391291" y="6282548"/>
            <a:ext cx="2230445" cy="29238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300" kern="1200" dirty="0">
                <a:solidFill>
                  <a:schemeClr val="tx1"/>
                </a:solidFill>
                <a:latin typeface="BMW Group Light" pitchFamily="2" charset="0"/>
                <a:ea typeface="+mn-ea"/>
                <a:cs typeface="BMW Group Light" pitchFamily="2" charset="0"/>
              </a:rPr>
              <a:t>Financial Servic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5" orient="horz" pos="3752" userDrawn="1">
          <p15:clr>
            <a:srgbClr val="FBAE40"/>
          </p15:clr>
        </p15:guide>
        <p15:guide id="6" orient="horz" pos="210" userDrawn="1">
          <p15:clr>
            <a:srgbClr val="FBAE40"/>
          </p15:clr>
        </p15:guide>
        <p15:guide id="7" orient="horz" pos="354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48" y="1413936"/>
            <a:ext cx="5486400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6193368" y="1413936"/>
            <a:ext cx="5520267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5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37"/>
          </p:nvPr>
        </p:nvSpPr>
        <p:spPr>
          <a:xfrm>
            <a:off x="488948" y="4183352"/>
            <a:ext cx="5486400" cy="1938048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6193368" y="4191000"/>
            <a:ext cx="5520267" cy="1930400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896" userDrawn="1">
          <p15:clr>
            <a:srgbClr val="FBAE40"/>
          </p15:clr>
        </p15:guide>
        <p15:guide id="6" pos="301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orient="horz" pos="4042" userDrawn="1">
          <p15:clr>
            <a:srgbClr val="FBAE40"/>
          </p15:clr>
        </p15:guide>
        <p15:guide id="10" orient="horz" pos="4260" userDrawn="1">
          <p15:clr>
            <a:srgbClr val="FBAE40"/>
          </p15:clr>
        </p15:guide>
        <p15:guide id="11" orient="horz" pos="2636" userDrawn="1">
          <p15:clr>
            <a:srgbClr val="FBAE40"/>
          </p15:clr>
        </p15:guide>
        <p15:guide id="12" orient="horz" pos="253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50" y="1413936"/>
            <a:ext cx="3578577" cy="1675641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4295424" y="1413936"/>
            <a:ext cx="3584221" cy="1683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35"/>
          </p:nvPr>
        </p:nvSpPr>
        <p:spPr>
          <a:xfrm>
            <a:off x="8134521" y="1413936"/>
            <a:ext cx="3579112" cy="168329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5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430107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8135058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01" userDrawn="1">
          <p15:clr>
            <a:srgbClr val="FBAE40"/>
          </p15:clr>
        </p15:guide>
        <p15:guide id="9" pos="5120" userDrawn="1">
          <p15:clr>
            <a:srgbClr val="FBAE40"/>
          </p15:clr>
        </p15:guide>
        <p15:guide id="10" pos="4968" userDrawn="1">
          <p15:clr>
            <a:srgbClr val="FBAE40"/>
          </p15:clr>
        </p15:guide>
        <p15:guide id="11" pos="2704" userDrawn="1">
          <p15:clr>
            <a:srgbClr val="FBAE40"/>
          </p15:clr>
        </p15:guide>
        <p15:guide id="12" pos="256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88950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3352802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32"/>
          </p:nvPr>
        </p:nvSpPr>
        <p:spPr>
          <a:xfrm>
            <a:off x="6220182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9096213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48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3352803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dirty="0" smtClean="0">
                <a:solidFill>
                  <a:srgbClr val="404040"/>
                </a:solidFill>
              </a:defRPr>
            </a:lvl1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6220180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41"/>
          </p:nvPr>
        </p:nvSpPr>
        <p:spPr>
          <a:xfrm>
            <a:off x="9094612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1960" userDrawn="1">
          <p15:clr>
            <a:srgbClr val="FBAE40"/>
          </p15:clr>
        </p15:guide>
        <p15:guide id="10" pos="2112" userDrawn="1">
          <p15:clr>
            <a:srgbClr val="FBAE40"/>
          </p15:clr>
        </p15:guide>
        <p15:guide id="11" pos="3768" userDrawn="1">
          <p15:clr>
            <a:srgbClr val="FBAE40"/>
          </p15:clr>
        </p15:guide>
        <p15:guide id="12" pos="3912" userDrawn="1">
          <p15:clr>
            <a:srgbClr val="FBAE40"/>
          </p15:clr>
        </p15:guide>
        <p15:guide id="13" pos="5564" userDrawn="1">
          <p15:clr>
            <a:srgbClr val="FBAE40"/>
          </p15:clr>
        </p15:guide>
        <p15:guide id="14" pos="572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bin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6204657" y="1413933"/>
            <a:ext cx="5508976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6" y="1413933"/>
            <a:ext cx="5971817" cy="4715934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72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3768" userDrawn="1">
          <p15:clr>
            <a:srgbClr val="FBAE40"/>
          </p15:clr>
        </p15:guide>
        <p15:guide id="10" pos="390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cial Content without Dividing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500515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41345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88" userDrawn="1">
          <p15:clr>
            <a:srgbClr val="FBAE40"/>
          </p15:clr>
        </p15:guide>
        <p15:guide id="4" orient="horz" pos="3840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4322170"/>
            <a:ext cx="12191496" cy="253583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800" y="5927742"/>
            <a:ext cx="1154478" cy="359999"/>
          </a:xfrm>
          <a:prstGeom prst="rect">
            <a:avLst/>
          </a:prstGeom>
        </p:spPr>
      </p:pic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1799485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buNone/>
              <a:defRPr sz="39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2916667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buNone/>
              <a:defRPr sz="2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pic>
        <p:nvPicPr>
          <p:cNvPr id="14" name="Bild 8" descr="BMWMINIRR_5fbg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870" y="6137292"/>
            <a:ext cx="1724211" cy="36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92111" y="5431512"/>
            <a:ext cx="1620000" cy="3194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  <a:defRPr lang="de-DE" sz="1100" b="1" i="0" baseline="0" dirty="0" smtClean="0">
                <a:latin typeface="BMW Group Condensed Bold"/>
                <a:ea typeface="BMW Type Global Pro Regular" pitchFamily="2" charset="0"/>
                <a:cs typeface="BMW Group Condensed Bold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r>
              <a:rPr lang="de-DE" dirty="0"/>
              <a:t>Department | Date</a:t>
            </a:r>
          </a:p>
        </p:txBody>
      </p:sp>
      <p:pic>
        <p:nvPicPr>
          <p:cNvPr id="13" name="Bild 7" descr="WortmarkeBMWGROUP Kopie.jp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10" y="5927742"/>
            <a:ext cx="757731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feld 14"/>
          <p:cNvSpPr txBox="1"/>
          <p:nvPr userDrawn="1"/>
        </p:nvSpPr>
        <p:spPr>
          <a:xfrm>
            <a:off x="391291" y="6282548"/>
            <a:ext cx="2230445" cy="29238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300" kern="1200" dirty="0">
                <a:solidFill>
                  <a:schemeClr val="tx1"/>
                </a:solidFill>
                <a:latin typeface="BMW Group Light" pitchFamily="2" charset="0"/>
                <a:ea typeface="+mn-ea"/>
                <a:cs typeface="BMW Group Light" pitchFamily="2" charset="0"/>
              </a:rPr>
              <a:t>Financial Servic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79" userDrawn="1">
          <p15:clr>
            <a:srgbClr val="FBAE40"/>
          </p15:clr>
        </p15:guide>
        <p15:guide id="2" orient="horz" pos="1128" userDrawn="1">
          <p15:clr>
            <a:srgbClr val="FBAE40"/>
          </p15:clr>
        </p15:guide>
        <p15:guide id="3" orient="horz" pos="3544" userDrawn="1">
          <p15:clr>
            <a:srgbClr val="FBAE40"/>
          </p15:clr>
        </p15:guide>
        <p15:guide id="4" orient="horz" pos="1832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375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8"/>
          <p:cNvSpPr/>
          <p:nvPr userDrawn="1"/>
        </p:nvSpPr>
        <p:spPr>
          <a:xfrm>
            <a:off x="0" y="0"/>
            <a:ext cx="12192000" cy="6294964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6" name="Bild 10" descr="Next_100_Years_Signet.png"/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90" t="31947" r="48537" b="3"/>
          <a:stretch/>
        </p:blipFill>
        <p:spPr>
          <a:xfrm>
            <a:off x="4664261" y="1"/>
            <a:ext cx="7527739" cy="6330218"/>
          </a:xfrm>
          <a:prstGeom prst="rect">
            <a:avLst/>
          </a:prstGeom>
        </p:spPr>
      </p:pic>
      <p:sp>
        <p:nvSpPr>
          <p:cNvPr id="8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9" y="1412875"/>
            <a:ext cx="2989019" cy="9246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ts val="7200"/>
              </a:lnSpc>
              <a:spcBef>
                <a:spcPts val="0"/>
              </a:spcBef>
              <a:buNone/>
              <a:defRPr sz="72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01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88948" y="2362896"/>
            <a:ext cx="11224685" cy="54886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ts val="4200"/>
              </a:lnSpc>
              <a:spcBef>
                <a:spcPts val="0"/>
              </a:spcBef>
              <a:buNone/>
              <a:defRPr sz="4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hapter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36" userDrawn="1">
          <p15:clr>
            <a:srgbClr val="FBAE40"/>
          </p15:clr>
        </p15:guide>
        <p15:guide id="2" orient="horz" pos="887" userDrawn="1">
          <p15:clr>
            <a:srgbClr val="FBAE40"/>
          </p15:clr>
        </p15:guide>
        <p15:guide id="3" pos="7384" userDrawn="1">
          <p15:clr>
            <a:srgbClr val="FBAE40"/>
          </p15:clr>
        </p15:guide>
        <p15:guide id="4" pos="301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11"/>
          <p:cNvPicPr>
            <a:picLocks noChangeAspect="1"/>
          </p:cNvPicPr>
          <p:nvPr userDrawn="1"/>
        </p:nvPicPr>
        <p:blipFill rotWithShape="1">
          <a:blip r:embed="rId2" cstate="print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656" t="46096" r="-1521" b="2091"/>
          <a:stretch/>
        </p:blipFill>
        <p:spPr>
          <a:xfrm>
            <a:off x="-9832" y="0"/>
            <a:ext cx="6028267" cy="629390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488948" y="1413933"/>
            <a:ext cx="5486400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9"/>
          </p:nvPr>
        </p:nvSpPr>
        <p:spPr>
          <a:xfrm>
            <a:off x="6193368" y="1413933"/>
            <a:ext cx="5520267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6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pos="30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Sub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22"/>
          </p:nvPr>
        </p:nvSpPr>
        <p:spPr>
          <a:xfrm>
            <a:off x="6193368" y="1795463"/>
            <a:ext cx="5520267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3"/>
          </p:nvPr>
        </p:nvSpPr>
        <p:spPr>
          <a:xfrm>
            <a:off x="488948" y="1795463"/>
            <a:ext cx="5486400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488950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93368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7" userDrawn="1">
          <p15:clr>
            <a:srgbClr val="FBAE40"/>
          </p15:clr>
        </p15:guide>
        <p15:guide id="8" pos="3769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orient="horz" pos="1131" userDrawn="1">
          <p15:clr>
            <a:srgbClr val="FBAE40"/>
          </p15:clr>
        </p15:guide>
        <p15:guide id="11" orient="horz" pos="1094" userDrawn="1">
          <p15:clr>
            <a:srgbClr val="FBAE40"/>
          </p15:clr>
        </p15:guide>
        <p15:guide id="12" pos="30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4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36"/>
          </p:nvPr>
        </p:nvSpPr>
        <p:spPr>
          <a:xfrm>
            <a:off x="488948" y="1413933"/>
            <a:ext cx="11224685" cy="4707467"/>
          </a:xfrm>
          <a:pattFill prst="wdUpDiag">
            <a:fgClr>
              <a:srgbClr val="BFBFBF"/>
            </a:fgClr>
            <a:bgClr>
              <a:schemeClr val="bg1"/>
            </a:bgClr>
          </a:pattFill>
        </p:spPr>
        <p:txBody>
          <a:bodyPr tIns="540000" anchor="ctr"/>
          <a:lstStyle>
            <a:lvl1pPr marL="0" indent="0" algn="ctr">
              <a:buNone/>
              <a:defRPr sz="2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4042" userDrawn="1">
          <p15:clr>
            <a:srgbClr val="FBAE40"/>
          </p15:clr>
        </p15:guide>
        <p15:guide id="8" orient="horz" pos="42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5" y="1413933"/>
            <a:ext cx="12192003" cy="5444068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pos="301" userDrawn="1">
          <p15:clr>
            <a:srgbClr val="FBAE40"/>
          </p15:clr>
        </p15:guide>
        <p15:guide id="4" pos="73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rgbClr val="404040"/>
                </a:solidFill>
              </a:defRPr>
            </a:lvl1pPr>
          </a:lstStyle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0586156" y="6425347"/>
            <a:ext cx="1127477" cy="3317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404040"/>
                </a:solidFill>
              </a:defRPr>
            </a:lvl1pPr>
          </a:lstStyle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18"/>
            </p:custDataLst>
          </p:nvPr>
        </p:nvSpPr>
        <p:spPr>
          <a:xfrm>
            <a:off x="-1693333" y="-127000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ts val="2700"/>
              </a:lnSpc>
            </a:pPr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/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6" r:id="rId2"/>
    <p:sldLayoutId id="2147483748" r:id="rId3"/>
    <p:sldLayoutId id="2147483749" r:id="rId4"/>
    <p:sldLayoutId id="2147483752" r:id="rId5"/>
    <p:sldLayoutId id="2147483750" r:id="rId6"/>
    <p:sldLayoutId id="2147483751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65" r:id="rId14"/>
    <p:sldLayoutId id="2147483762" r:id="rId15"/>
    <p:sldLayoutId id="2147483764" r:id="rId16"/>
  </p:sldLayoutIdLst>
  <p:hf hdr="0" dt="0"/>
  <p:txStyles>
    <p:titleStyle>
      <a:lvl1pPr algn="l" defTabSz="914400" rtl="0" eaLnBrk="1" latinLnBrk="0" hangingPunct="1">
        <a:lnSpc>
          <a:spcPts val="3400"/>
        </a:lnSpc>
        <a:spcBef>
          <a:spcPct val="0"/>
        </a:spcBef>
        <a:buNone/>
        <a:defRPr lang="de-DE" sz="2600" b="1" kern="1200" cap="all" baseline="0" smtClean="0">
          <a:solidFill>
            <a:srgbClr val="92A2BD"/>
          </a:solidFill>
          <a:latin typeface="+mj-lt"/>
          <a:ea typeface="+mn-ea"/>
          <a:cs typeface="+mn-cs"/>
        </a:defRPr>
      </a:lvl1pPr>
    </p:titleStyle>
    <p:bodyStyle>
      <a:lvl1pPr marL="176213" indent="-176213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488948" y="1412875"/>
            <a:ext cx="6087697" cy="924620"/>
          </a:xfrm>
        </p:spPr>
        <p:txBody>
          <a:bodyPr/>
          <a:lstStyle/>
          <a:p>
            <a:r>
              <a:rPr lang="en-US" b="0" dirty="0" smtClean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MCB</a:t>
            </a:r>
            <a:endParaRPr lang="en-US" b="0" dirty="0">
              <a:solidFill>
                <a:srgbClr val="404040"/>
              </a:solidFill>
              <a:latin typeface="BMW Group Condensed" panose="020B0606020202020204" pitchFamily="34" charset="0"/>
            </a:endParaRPr>
          </a:p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88949" y="2337495"/>
            <a:ext cx="11224685" cy="1154162"/>
          </a:xfrm>
        </p:spPr>
        <p:txBody>
          <a:bodyPr/>
          <a:lstStyle/>
          <a:p>
            <a:r>
              <a:rPr lang="en-US" altLang="zh-CN" dirty="0">
                <a:solidFill>
                  <a:srgbClr val="666666"/>
                </a:solidFill>
                <a:latin typeface="BMW Group Condensed" panose="020B0606020202020204" pitchFamily="34" charset="0"/>
              </a:rPr>
              <a:t>EPIC: </a:t>
            </a:r>
          </a:p>
          <a:p>
            <a:r>
              <a:rPr lang="en-US" dirty="0">
                <a:solidFill>
                  <a:schemeClr val="tx1"/>
                </a:solidFill>
                <a:latin typeface="BMW Group Condensed" panose="020B0606020202020204" pitchFamily="34" charset="0"/>
              </a:rPr>
              <a:t>Selected Financial Product</a:t>
            </a:r>
            <a:endParaRPr lang="en-US" altLang="zh-CN" dirty="0" smtClean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6424613"/>
            <a:ext cx="9852025" cy="331787"/>
          </a:xfrm>
        </p:spPr>
        <p:txBody>
          <a:bodyPr/>
          <a:lstStyle/>
          <a:p>
            <a:pPr algn="l"/>
            <a:r>
              <a:rPr lang="en-GB" noProof="0" smtClean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11063288" y="6424613"/>
            <a:ext cx="1128712" cy="331787"/>
          </a:xfrm>
        </p:spPr>
        <p:txBody>
          <a:bodyPr/>
          <a:lstStyle/>
          <a:p>
            <a:r>
              <a:rPr lang="en-US" noProof="0" smtClean="0"/>
              <a:t>Page </a:t>
            </a:r>
            <a:fld id="{AA807A42-CF27-4B84-8583-18EBE418342E}" type="slidenum">
              <a:rPr lang="en-US" noProof="0" smtClean="0"/>
              <a:pPr/>
              <a:t>1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03473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4813" y="1480628"/>
            <a:ext cx="10026869" cy="448879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/>
              <a:t>ES-S 002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151820" y="5969426"/>
            <a:ext cx="4456386" cy="709170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44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ample</a:t>
            </a:r>
          </a:p>
        </p:txBody>
      </p:sp>
    </p:spTree>
    <p:extLst>
      <p:ext uri="{BB962C8B-B14F-4D97-AF65-F5344CB8AC3E}">
        <p14:creationId xmlns:p14="http://schemas.microsoft.com/office/powerpoint/2010/main" val="8218366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/>
              <a:t>ES-S 002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Process Flow: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1304155" y="2172128"/>
            <a:ext cx="1114097" cy="3756484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Easy Finance 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Registration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Process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441112" y="306386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2418252" y="517827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1378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/>
              <a:t>ES-S 00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  <a:ln w="3175">
            <a:solidFill>
              <a:schemeClr val="tx1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Sequence Flow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786630" y="1619829"/>
            <a:ext cx="1397876" cy="420414"/>
          </a:xfrm>
          <a:prstGeom prst="rect">
            <a:avLst/>
          </a:prstGeom>
          <a:solidFill>
            <a:srgbClr val="B1C3B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140730" y="1619829"/>
            <a:ext cx="1397876" cy="420414"/>
          </a:xfrm>
          <a:prstGeom prst="rect">
            <a:avLst/>
          </a:prstGeom>
          <a:solidFill>
            <a:srgbClr val="B2CA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94830" y="1619829"/>
            <a:ext cx="1397876" cy="420414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848930" y="1619829"/>
            <a:ext cx="1397876" cy="420414"/>
          </a:xfrm>
          <a:prstGeom prst="rect">
            <a:avLst/>
          </a:prstGeom>
          <a:solidFill>
            <a:srgbClr val="FFC2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045880" y="1619829"/>
            <a:ext cx="1397876" cy="420414"/>
          </a:xfrm>
          <a:prstGeom prst="rect">
            <a:avLst/>
          </a:prstGeom>
          <a:solidFill>
            <a:srgbClr val="FEE37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>
            <a:stCxn id="6" idx="2"/>
          </p:cNvCxnSpPr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4181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S-S </a:t>
            </a:r>
            <a:r>
              <a:rPr lang="en-US" dirty="0" smtClean="0"/>
              <a:t>003: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user I want to select Herald Leasing products so that I can chose leasing products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</a:rPr>
              <a:t>:</a:t>
            </a:r>
          </a:p>
          <a:p>
            <a:r>
              <a:rPr lang="en-US" sz="1600" dirty="0">
                <a:solidFill>
                  <a:srgbClr val="172B4D"/>
                </a:solidFill>
              </a:rPr>
              <a:t>User is logged in / registered. </a:t>
            </a:r>
          </a:p>
          <a:p>
            <a:pPr marL="0" indent="0">
              <a:buNone/>
            </a:pPr>
            <a:r>
              <a:rPr lang="en-US" sz="1600" u="sng" dirty="0">
                <a:solidFill>
                  <a:srgbClr val="00B0F0"/>
                </a:solidFill>
              </a:rPr>
              <a:t>Pre-Conditions:</a:t>
            </a:r>
          </a:p>
          <a:p>
            <a:r>
              <a:rPr lang="en-US" sz="1600" dirty="0">
                <a:solidFill>
                  <a:srgbClr val="172B4D"/>
                </a:solidFill>
              </a:rPr>
              <a:t>SF Web Calculator calculation is the same as DFE</a:t>
            </a:r>
          </a:p>
          <a:p>
            <a:pPr marL="0" lv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Acceptance Criteria A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>
                <a:solidFill>
                  <a:srgbClr val="172B4D"/>
                </a:solidFill>
              </a:rPr>
              <a:t>Acceptance Criteria </a:t>
            </a:r>
            <a:r>
              <a:rPr lang="en-US" sz="1600" dirty="0" smtClean="0">
                <a:solidFill>
                  <a:srgbClr val="172B4D"/>
                </a:solidFill>
              </a:rPr>
              <a:t>B</a:t>
            </a:r>
            <a:endParaRPr lang="en-US" sz="1600" dirty="0">
              <a:solidFill>
                <a:srgbClr val="172B4D"/>
              </a:solidFill>
            </a:endParaRP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>
                <a:solidFill>
                  <a:srgbClr val="172B4D"/>
                </a:solidFill>
              </a:rPr>
              <a:t>Acceptance Criteria C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>
                <a:solidFill>
                  <a:srgbClr val="172B4D"/>
                </a:solidFill>
              </a:rPr>
              <a:t>Acceptance Criteria </a:t>
            </a:r>
            <a:r>
              <a:rPr lang="en-US" sz="1600" dirty="0" smtClean="0">
                <a:solidFill>
                  <a:srgbClr val="172B4D"/>
                </a:solidFill>
              </a:rPr>
              <a:t>D</a:t>
            </a:r>
            <a:endParaRPr lang="en-US" sz="1600" dirty="0">
              <a:solidFill>
                <a:srgbClr val="172B4D"/>
              </a:solidFill>
            </a:endParaRPr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794127" y="1048658"/>
            <a:ext cx="1229710" cy="38888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10268610" y="1048658"/>
            <a:ext cx="399393" cy="388881"/>
          </a:xfrm>
          <a:prstGeom prst="ellipse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mpliance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238949" y="86098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PO (BA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)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54769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/>
              <a:t>ES-S 003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1514475" y="1048658"/>
            <a:ext cx="10490309" cy="5336745"/>
            <a:chOff x="356135" y="330630"/>
            <a:chExt cx="11502189" cy="6173040"/>
          </a:xfrm>
        </p:grpSpPr>
        <p:sp>
          <p:nvSpPr>
            <p:cNvPr id="18" name="Rectangle 17"/>
            <p:cNvSpPr/>
            <p:nvPr/>
          </p:nvSpPr>
          <p:spPr>
            <a:xfrm>
              <a:off x="4299282" y="5813659"/>
              <a:ext cx="1098885" cy="2117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6007768" y="5298708"/>
              <a:ext cx="2857100" cy="97696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grpSp>
          <p:nvGrpSpPr>
            <p:cNvPr id="20" name="Group 19"/>
            <p:cNvGrpSpPr/>
            <p:nvPr/>
          </p:nvGrpSpPr>
          <p:grpSpPr>
            <a:xfrm>
              <a:off x="356135" y="330630"/>
              <a:ext cx="11502189" cy="6173040"/>
              <a:chOff x="356135" y="330630"/>
              <a:chExt cx="11502189" cy="6173040"/>
            </a:xfrm>
          </p:grpSpPr>
          <p:grpSp>
            <p:nvGrpSpPr>
              <p:cNvPr id="21" name="Group 20"/>
              <p:cNvGrpSpPr/>
              <p:nvPr/>
            </p:nvGrpSpPr>
            <p:grpSpPr>
              <a:xfrm>
                <a:off x="356135" y="330630"/>
                <a:ext cx="11502189" cy="6173040"/>
                <a:chOff x="356135" y="330630"/>
                <a:chExt cx="11502189" cy="6173040"/>
              </a:xfrm>
            </p:grpSpPr>
            <p:grpSp>
              <p:nvGrpSpPr>
                <p:cNvPr id="23" name="Group 22"/>
                <p:cNvGrpSpPr/>
                <p:nvPr/>
              </p:nvGrpSpPr>
              <p:grpSpPr>
                <a:xfrm>
                  <a:off x="356135" y="330630"/>
                  <a:ext cx="11502189" cy="6173040"/>
                  <a:chOff x="356135" y="330630"/>
                  <a:chExt cx="11502189" cy="6173040"/>
                </a:xfrm>
              </p:grpSpPr>
              <p:grpSp>
                <p:nvGrpSpPr>
                  <p:cNvPr id="25" name="Group 24"/>
                  <p:cNvGrpSpPr/>
                  <p:nvPr/>
                </p:nvGrpSpPr>
                <p:grpSpPr>
                  <a:xfrm>
                    <a:off x="356135" y="330630"/>
                    <a:ext cx="11502189" cy="6173040"/>
                    <a:chOff x="356135" y="330630"/>
                    <a:chExt cx="11502189" cy="6173040"/>
                  </a:xfrm>
                </p:grpSpPr>
                <p:grpSp>
                  <p:nvGrpSpPr>
                    <p:cNvPr id="27" name="Group 26"/>
                    <p:cNvGrpSpPr/>
                    <p:nvPr/>
                  </p:nvGrpSpPr>
                  <p:grpSpPr>
                    <a:xfrm>
                      <a:off x="356135" y="330630"/>
                      <a:ext cx="11502189" cy="6173040"/>
                      <a:chOff x="356135" y="330630"/>
                      <a:chExt cx="11502189" cy="6173040"/>
                    </a:xfrm>
                  </p:grpSpPr>
                  <p:grpSp>
                    <p:nvGrpSpPr>
                      <p:cNvPr id="29" name="Group 28"/>
                      <p:cNvGrpSpPr/>
                      <p:nvPr/>
                    </p:nvGrpSpPr>
                    <p:grpSpPr>
                      <a:xfrm>
                        <a:off x="356135" y="330630"/>
                        <a:ext cx="11502189" cy="6173040"/>
                        <a:chOff x="356135" y="330630"/>
                        <a:chExt cx="11502189" cy="6173040"/>
                      </a:xfrm>
                    </p:grpSpPr>
                    <p:grpSp>
                      <p:nvGrpSpPr>
                        <p:cNvPr id="31" name="Group 30"/>
                        <p:cNvGrpSpPr/>
                        <p:nvPr/>
                      </p:nvGrpSpPr>
                      <p:grpSpPr>
                        <a:xfrm>
                          <a:off x="356135" y="330630"/>
                          <a:ext cx="11502189" cy="6173040"/>
                          <a:chOff x="356135" y="330630"/>
                          <a:chExt cx="11502189" cy="6173040"/>
                        </a:xfrm>
                      </p:grpSpPr>
                      <p:grpSp>
                        <p:nvGrpSpPr>
                          <p:cNvPr id="33" name="Group 32"/>
                          <p:cNvGrpSpPr/>
                          <p:nvPr/>
                        </p:nvGrpSpPr>
                        <p:grpSpPr>
                          <a:xfrm>
                            <a:off x="356135" y="330630"/>
                            <a:ext cx="11502189" cy="6173040"/>
                            <a:chOff x="356135" y="330630"/>
                            <a:chExt cx="11502189" cy="6173040"/>
                          </a:xfrm>
                        </p:grpSpPr>
                        <p:grpSp>
                          <p:nvGrpSpPr>
                            <p:cNvPr id="35" name="Group 34"/>
                            <p:cNvGrpSpPr/>
                            <p:nvPr/>
                          </p:nvGrpSpPr>
                          <p:grpSpPr>
                            <a:xfrm>
                              <a:off x="356135" y="330630"/>
                              <a:ext cx="11502189" cy="6173040"/>
                              <a:chOff x="356135" y="330630"/>
                              <a:chExt cx="11502189" cy="6173040"/>
                            </a:xfrm>
                          </p:grpSpPr>
                          <p:grpSp>
                            <p:nvGrpSpPr>
                              <p:cNvPr id="37" name="Group 36"/>
                              <p:cNvGrpSpPr/>
                              <p:nvPr/>
                            </p:nvGrpSpPr>
                            <p:grpSpPr>
                              <a:xfrm>
                                <a:off x="356135" y="330630"/>
                                <a:ext cx="11502189" cy="6173040"/>
                                <a:chOff x="356135" y="330630"/>
                                <a:chExt cx="11502189" cy="6173040"/>
                              </a:xfrm>
                            </p:grpSpPr>
                            <p:grpSp>
                              <p:nvGrpSpPr>
                                <p:cNvPr id="39" name="Group 38"/>
                                <p:cNvGrpSpPr/>
                                <p:nvPr/>
                              </p:nvGrpSpPr>
                              <p:grpSpPr>
                                <a:xfrm>
                                  <a:off x="356135" y="330630"/>
                                  <a:ext cx="11502189" cy="6173040"/>
                                  <a:chOff x="356135" y="330630"/>
                                  <a:chExt cx="11502189" cy="6173040"/>
                                </a:xfrm>
                              </p:grpSpPr>
                              <p:grpSp>
                                <p:nvGrpSpPr>
                                  <p:cNvPr id="41" name="Group 40"/>
                                  <p:cNvGrpSpPr/>
                                  <p:nvPr/>
                                </p:nvGrpSpPr>
                                <p:grpSpPr>
                                  <a:xfrm>
                                    <a:off x="356135" y="330630"/>
                                    <a:ext cx="11502189" cy="6173040"/>
                                    <a:chOff x="356135" y="330630"/>
                                    <a:chExt cx="11502189" cy="6173040"/>
                                  </a:xfrm>
                                </p:grpSpPr>
                                <p:pic>
                                  <p:nvPicPr>
                                    <p:cNvPr id="43" name="Picture 42"/>
                                    <p:cNvPicPr>
                                      <a:picLocks noChangeAspect="1"/>
                                    </p:cNvPicPr>
                                    <p:nvPr/>
                                  </p:nvPicPr>
                                  <p:blipFill>
                                    <a:blip r:embed="rId2"/>
                                    <a:stretch>
                                      <a:fillRect/>
                                    </a:stretch>
                                  </p:blipFill>
                                  <p:spPr>
                                    <a:xfrm>
                                      <a:off x="356135" y="330630"/>
                                      <a:ext cx="11502189" cy="6173040"/>
                                    </a:xfrm>
                                    <a:prstGeom prst="rect">
                                      <a:avLst/>
                                    </a:prstGeom>
                                  </p:spPr>
                                </p:pic>
                                <p:sp>
                                  <p:nvSpPr>
                                    <p:cNvPr id="44" name="Rectangle 43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856648" y="2666198"/>
                                      <a:ext cx="365760" cy="221381"/>
                                    </a:xfrm>
                                    <a:prstGeom prst="rect">
                                      <a:avLst/>
                                    </a:prstGeom>
                                    <a:solidFill>
                                      <a:schemeClr val="bg1"/>
                                    </a:solidFill>
                                    <a:ln>
                                      <a:noFill/>
                                    </a:ln>
                                  </p:spPr>
                                  <p:style>
                                    <a:lnRef idx="2">
                                      <a:schemeClr val="accent1">
                                        <a:shade val="50000"/>
                                      </a:schemeClr>
                                    </a:lnRef>
                                    <a:fillRef idx="1">
                                      <a:schemeClr val="accent1"/>
                                    </a:fillRef>
                                    <a:effectRef idx="0">
                                      <a:schemeClr val="accent1"/>
                                    </a:effectRef>
                                    <a:fontRef idx="minor">
                                      <a:schemeClr val="lt1"/>
                                    </a:fontRef>
                                  </p:style>
                                  <p:txBody>
                                    <a:bodyPr rtlCol="0" anchor="ctr"/>
                                    <a:lstStyle/>
                                    <a:p>
                                      <a:pPr algn="ctr"/>
                                      <a:endParaRPr lang="en-US" sz="1600"/>
                                    </a:p>
                                  </p:txBody>
                                </p:sp>
                              </p:grpSp>
                              <p:sp>
                                <p:nvSpPr>
                                  <p:cNvPr id="42" name="Rectangle 41"/>
                                  <p:cNvSpPr/>
                                  <p:nvPr/>
                                </p:nvSpPr>
                                <p:spPr>
                                  <a:xfrm>
                                    <a:off x="856648" y="4050632"/>
                                    <a:ext cx="866274" cy="203735"/>
                                  </a:xfrm>
                                  <a:prstGeom prst="rect">
                                    <a:avLst/>
                                  </a:prstGeom>
                                  <a:solidFill>
                                    <a:schemeClr val="bg1"/>
                                  </a:solidFill>
                                  <a:ln>
                                    <a:noFill/>
                                  </a:ln>
                                </p:spPr>
                                <p:style>
                                  <a:lnRef idx="2">
                                    <a:schemeClr val="accent1">
                                      <a:shade val="50000"/>
                                    </a:schemeClr>
                                  </a:lnRef>
                                  <a:fillRef idx="1">
                                    <a:schemeClr val="accent1"/>
                                  </a:fillRef>
                                  <a:effectRef idx="0">
                                    <a:schemeClr val="accent1"/>
                                  </a:effectRef>
                                  <a:fontRef idx="minor">
                                    <a:schemeClr val="lt1"/>
                                  </a:fontRef>
                                </p:style>
                                <p:txBody>
                                  <a:bodyPr rtlCol="0" anchor="ctr"/>
                                  <a:lstStyle/>
                                  <a:p>
                                    <a:pPr algn="ctr"/>
                                    <a:endParaRPr lang="en-US" sz="1600"/>
                                  </a:p>
                                </p:txBody>
                              </p:sp>
                            </p:grpSp>
                            <p:sp>
                              <p:nvSpPr>
                                <p:cNvPr id="40" name="Rectangle 39"/>
                                <p:cNvSpPr/>
                                <p:nvPr/>
                              </p:nvSpPr>
                              <p:spPr>
                                <a:xfrm>
                                  <a:off x="6107229" y="4254367"/>
                                  <a:ext cx="5240956" cy="606391"/>
                                </a:xfrm>
                                <a:prstGeom prst="rect">
                                  <a:avLst/>
                                </a:prstGeom>
                                <a:solidFill>
                                  <a:schemeClr val="bg1"/>
                                </a:solidFill>
                                <a:ln>
                                  <a:noFill/>
                                </a:ln>
                              </p:spPr>
                              <p:style>
                                <a:lnRef idx="2">
                                  <a:schemeClr val="accent1">
                                    <a:shade val="50000"/>
                                  </a:schemeClr>
                                </a:lnRef>
                                <a:fillRef idx="1">
                                  <a:schemeClr val="accent1"/>
                                </a:fillRef>
                                <a:effectRef idx="0">
                                  <a:schemeClr val="accent1"/>
                                </a:effectRef>
                                <a:fontRef idx="minor">
                                  <a:schemeClr val="lt1"/>
                                </a:fontRef>
                              </p:style>
                              <p:txBody>
                                <a:bodyPr rtlCol="0" anchor="ctr"/>
                                <a:lstStyle/>
                                <a:p>
                                  <a:pPr algn="ctr"/>
                                  <a:endParaRPr lang="en-US" sz="1600"/>
                                </a:p>
                              </p:txBody>
                            </p:sp>
                          </p:grpSp>
                          <p:sp>
                            <p:nvSpPr>
                              <p:cNvPr id="38" name="Rectangle 37"/>
                              <p:cNvSpPr/>
                              <p:nvPr/>
                            </p:nvSpPr>
                            <p:spPr>
                              <a:xfrm>
                                <a:off x="1605813" y="5813659"/>
                                <a:ext cx="1098885" cy="211756"/>
                              </a:xfrm>
                              <a:prstGeom prst="rect">
                                <a:avLst/>
                              </a:prstGeom>
                              <a:solidFill>
                                <a:schemeClr val="bg1"/>
                              </a:solidFill>
                              <a:ln>
                                <a:noFill/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algn="ctr"/>
                                <a:endParaRPr lang="en-US" sz="1600"/>
                              </a:p>
                            </p:txBody>
                          </p:sp>
                        </p:grpSp>
                        <p:sp>
                          <p:nvSpPr>
                            <p:cNvPr id="36" name="Rectangle 35"/>
                            <p:cNvSpPr/>
                            <p:nvPr/>
                          </p:nvSpPr>
                          <p:spPr>
                            <a:xfrm>
                              <a:off x="2512593" y="5575434"/>
                              <a:ext cx="384209" cy="238225"/>
                            </a:xfrm>
                            <a:prstGeom prst="rect">
                              <a:avLst/>
                            </a:prstGeom>
                            <a:solidFill>
                              <a:schemeClr val="bg1"/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en-US" sz="1600"/>
                            </a:p>
                          </p:txBody>
                        </p:sp>
                      </p:grpSp>
                      <p:sp>
                        <p:nvSpPr>
                          <p:cNvPr id="34" name="Rectangle 33"/>
                          <p:cNvSpPr/>
                          <p:nvPr/>
                        </p:nvSpPr>
                        <p:spPr>
                          <a:xfrm>
                            <a:off x="6107229" y="5298708"/>
                            <a:ext cx="2661386" cy="976964"/>
                          </a:xfrm>
                          <a:prstGeom prst="rect">
                            <a:avLst/>
                          </a:prstGeom>
                          <a:solidFill>
                            <a:schemeClr val="bg1"/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en-US" sz="1600"/>
                          </a:p>
                        </p:txBody>
                      </p:sp>
                    </p:grpSp>
                    <p:sp>
                      <p:nvSpPr>
                        <p:cNvPr id="32" name="Rectangle 31"/>
                        <p:cNvSpPr/>
                        <p:nvPr/>
                      </p:nvSpPr>
                      <p:spPr>
                        <a:xfrm>
                          <a:off x="5053260" y="5548965"/>
                          <a:ext cx="384209" cy="238225"/>
                        </a:xfrm>
                        <a:prstGeom prst="rect">
                          <a:avLst/>
                        </a:prstGeom>
                        <a:solidFill>
                          <a:schemeClr val="bg1"/>
                        </a:solidFill>
                        <a:ln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en-US" sz="1600"/>
                        </a:p>
                      </p:txBody>
                    </p:sp>
                  </p:grpSp>
                  <p:sp>
                    <p:nvSpPr>
                      <p:cNvPr id="30" name="Rectangle 29"/>
                      <p:cNvSpPr/>
                      <p:nvPr/>
                    </p:nvSpPr>
                    <p:spPr>
                      <a:xfrm>
                        <a:off x="4112790" y="5787190"/>
                        <a:ext cx="1098885" cy="211756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en-US" sz="1600"/>
                      </a:p>
                    </p:txBody>
                  </p:sp>
                </p:grpSp>
                <p:sp>
                  <p:nvSpPr>
                    <p:cNvPr id="28" name="Rectangle 27"/>
                    <p:cNvSpPr/>
                    <p:nvPr/>
                  </p:nvSpPr>
                  <p:spPr>
                    <a:xfrm>
                      <a:off x="1039528" y="1503145"/>
                      <a:ext cx="1665170" cy="251059"/>
                    </a:xfrm>
                    <a:prstGeom prst="rect">
                      <a:avLst/>
                    </a:prstGeom>
                    <a:solidFill>
                      <a:srgbClr val="F3F3F3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1600"/>
                    </a:p>
                  </p:txBody>
                </p:sp>
              </p:grpSp>
              <p:sp>
                <p:nvSpPr>
                  <p:cNvPr id="26" name="Rectangle 25"/>
                  <p:cNvSpPr/>
                  <p:nvPr/>
                </p:nvSpPr>
                <p:spPr>
                  <a:xfrm>
                    <a:off x="1173479" y="3546909"/>
                    <a:ext cx="1098885" cy="211756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600"/>
                  </a:p>
                </p:txBody>
              </p:sp>
            </p:grpSp>
            <p:sp>
              <p:nvSpPr>
                <p:cNvPr id="24" name="TextBox 23"/>
                <p:cNvSpPr txBox="1"/>
                <p:nvPr/>
              </p:nvSpPr>
              <p:spPr>
                <a:xfrm>
                  <a:off x="1087254" y="1479208"/>
                  <a:ext cx="1809548" cy="28480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zh-CN" altLang="en-US" sz="1000" b="1" dirty="0" smtClean="0">
                      <a:latin typeface="BMW Group" pitchFamily="2" charset="0"/>
                      <a:cs typeface="BMW Group" pitchFamily="2" charset="0"/>
                    </a:rPr>
                    <a:t>悦选明天计划</a:t>
                  </a:r>
                  <a:endParaRPr lang="en-US" sz="1000" b="1" dirty="0">
                    <a:latin typeface="BMW Group" pitchFamily="2" charset="0"/>
                    <a:cs typeface="BMW Group" pitchFamily="2" charset="0"/>
                  </a:endParaRPr>
                </a:p>
              </p:txBody>
            </p:sp>
          </p:grpSp>
          <p:sp>
            <p:nvSpPr>
              <p:cNvPr id="22" name="TextBox 21"/>
              <p:cNvSpPr txBox="1"/>
              <p:nvPr/>
            </p:nvSpPr>
            <p:spPr>
              <a:xfrm>
                <a:off x="836591" y="2653553"/>
                <a:ext cx="491691" cy="28480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1000" b="1" dirty="0" smtClean="0">
                    <a:latin typeface="BMW Group" pitchFamily="2" charset="0"/>
                    <a:cs typeface="BMW Group" pitchFamily="2" charset="0"/>
                  </a:rPr>
                  <a:t>月付</a:t>
                </a:r>
                <a:endParaRPr lang="en-US" sz="1000" b="1" dirty="0">
                  <a:latin typeface="BMW Group" pitchFamily="2" charset="0"/>
                  <a:cs typeface="BMW Group" pitchFamily="2" charset="0"/>
                </a:endParaRPr>
              </a:p>
            </p:txBody>
          </p:sp>
        </p:grpSp>
        <p:sp>
          <p:nvSpPr>
            <p:cNvPr id="45" name="TextBox 44"/>
            <p:cNvSpPr txBox="1"/>
            <p:nvPr/>
          </p:nvSpPr>
          <p:spPr>
            <a:xfrm>
              <a:off x="1114120" y="3495123"/>
              <a:ext cx="743555" cy="2848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latin typeface="BMW Group" pitchFamily="2" charset="0"/>
                  <a:cs typeface="BMW Group" pitchFamily="2" charset="0"/>
                </a:rPr>
                <a:t>79,000</a:t>
              </a:r>
              <a:endParaRPr lang="en-US" sz="1000" dirty="0">
                <a:latin typeface="BMW Group" pitchFamily="2" charset="0"/>
                <a:cs typeface="BMW Group" pitchFamily="2" charset="0"/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856647" y="4050632"/>
              <a:ext cx="1415715" cy="2848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b="1" dirty="0" smtClean="0">
                  <a:latin typeface="BMW Group" pitchFamily="2" charset="0"/>
                  <a:cs typeface="BMW Group" pitchFamily="2" charset="0"/>
                </a:rPr>
                <a:t>最低回购价</a:t>
              </a:r>
              <a:r>
                <a:rPr lang="en-US" altLang="zh-CN" sz="1000" b="1" dirty="0" smtClean="0">
                  <a:latin typeface="BMW Group" pitchFamily="2" charset="0"/>
                  <a:cs typeface="BMW Group" pitchFamily="2" charset="0"/>
                </a:rPr>
                <a:t>/</a:t>
              </a:r>
              <a:r>
                <a:rPr lang="zh-CN" altLang="en-US" sz="1000" b="1" dirty="0" smtClean="0">
                  <a:latin typeface="BMW Group" pitchFamily="2" charset="0"/>
                  <a:cs typeface="BMW Group" pitchFamily="2" charset="0"/>
                </a:rPr>
                <a:t>尾款</a:t>
              </a:r>
              <a:r>
                <a:rPr lang="en-US" altLang="zh-CN" sz="1000" b="1" dirty="0" smtClean="0">
                  <a:latin typeface="BMW Group" pitchFamily="2" charset="0"/>
                  <a:cs typeface="BMW Group" pitchFamily="2" charset="0"/>
                </a:rPr>
                <a:t>:</a:t>
              </a:r>
              <a:endParaRPr lang="en-US" sz="1000" b="1" dirty="0">
                <a:latin typeface="BMW Group" pitchFamily="2" charset="0"/>
                <a:cs typeface="BMW Group" pitchFamily="2" charset="0"/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893142" y="4953224"/>
              <a:ext cx="1176290" cy="27716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897955" y="5001394"/>
              <a:ext cx="1415715" cy="2848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b="1" dirty="0" smtClean="0">
                  <a:latin typeface="BMW Group" pitchFamily="2" charset="0"/>
                  <a:cs typeface="BMW Group" pitchFamily="2" charset="0"/>
                </a:rPr>
                <a:t>期限：</a:t>
              </a:r>
              <a:endParaRPr lang="en-US" sz="1000" b="1" dirty="0">
                <a:latin typeface="BMW Group" pitchFamily="2" charset="0"/>
                <a:cs typeface="BMW Group" pitchFamily="2" charset="0"/>
              </a:endParaRP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2438396" y="5551209"/>
              <a:ext cx="743555" cy="2848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latin typeface="BMW Group" pitchFamily="2" charset="0"/>
                  <a:cs typeface="BMW Group" pitchFamily="2" charset="0"/>
                </a:rPr>
                <a:t>24</a:t>
              </a:r>
              <a:endParaRPr lang="en-US" sz="1000" dirty="0">
                <a:latin typeface="BMW Group" pitchFamily="2" charset="0"/>
                <a:cs typeface="BMW Group" pitchFamily="2" charset="0"/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4999919" y="5550118"/>
              <a:ext cx="743555" cy="2848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latin typeface="BMW Group" pitchFamily="2" charset="0"/>
                  <a:cs typeface="BMW Group" pitchFamily="2" charset="0"/>
                </a:rPr>
                <a:t>36</a:t>
              </a:r>
              <a:endParaRPr lang="en-US" sz="1000" dirty="0">
                <a:latin typeface="BMW Group" pitchFamily="2" charset="0"/>
                <a:cs typeface="BMW Group" pitchFamily="2" charset="0"/>
              </a:endParaRP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1183102" y="4407341"/>
              <a:ext cx="1098885" cy="2117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1128558" y="4405287"/>
              <a:ext cx="743555" cy="2848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latin typeface="BMW Group" pitchFamily="2" charset="0"/>
                  <a:cs typeface="BMW Group" pitchFamily="2" charset="0"/>
                </a:rPr>
                <a:t>79,000</a:t>
              </a:r>
              <a:endParaRPr lang="en-US" sz="1000" dirty="0">
                <a:latin typeface="BMW Group" pitchFamily="2" charset="0"/>
                <a:cs typeface="BMW Group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41190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4813" y="1480628"/>
            <a:ext cx="10026869" cy="448879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/>
              <a:t>ES-S 003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151820" y="5969426"/>
            <a:ext cx="4456386" cy="709170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44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ample</a:t>
            </a:r>
          </a:p>
        </p:txBody>
      </p:sp>
    </p:spTree>
    <p:extLst>
      <p:ext uri="{BB962C8B-B14F-4D97-AF65-F5344CB8AC3E}">
        <p14:creationId xmlns:p14="http://schemas.microsoft.com/office/powerpoint/2010/main" val="1409054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/>
              <a:t>ES-S 003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Process Flow: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1304155" y="2172128"/>
            <a:ext cx="1114097" cy="3756484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Easy Finance 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Registration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Process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441112" y="306386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2418252" y="517827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6407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/>
              <a:t>ES-S 003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  <a:ln w="3175">
            <a:solidFill>
              <a:schemeClr val="tx1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Sequence Flow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786630" y="1619829"/>
            <a:ext cx="1397876" cy="420414"/>
          </a:xfrm>
          <a:prstGeom prst="rect">
            <a:avLst/>
          </a:prstGeom>
          <a:solidFill>
            <a:srgbClr val="B1C3B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140730" y="1619829"/>
            <a:ext cx="1397876" cy="420414"/>
          </a:xfrm>
          <a:prstGeom prst="rect">
            <a:avLst/>
          </a:prstGeom>
          <a:solidFill>
            <a:srgbClr val="B2CA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94830" y="1619829"/>
            <a:ext cx="1397876" cy="420414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848930" y="1619829"/>
            <a:ext cx="1397876" cy="420414"/>
          </a:xfrm>
          <a:prstGeom prst="rect">
            <a:avLst/>
          </a:prstGeom>
          <a:solidFill>
            <a:srgbClr val="FFC2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045880" y="1619829"/>
            <a:ext cx="1397876" cy="420414"/>
          </a:xfrm>
          <a:prstGeom prst="rect">
            <a:avLst/>
          </a:prstGeom>
          <a:solidFill>
            <a:srgbClr val="FEE37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>
            <a:stCxn id="6" idx="2"/>
          </p:cNvCxnSpPr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2124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S-S </a:t>
            </a:r>
            <a:r>
              <a:rPr lang="en-US" dirty="0" smtClean="0"/>
              <a:t>004: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existing customer and </a:t>
            </a:r>
            <a:r>
              <a:rPr lang="en-US" dirty="0" err="1"/>
              <a:t>eApp</a:t>
            </a:r>
            <a:r>
              <a:rPr lang="en-US" dirty="0"/>
              <a:t> user I want to be able to select the loyalty SF offer so that I can enjoy the loyalty program interest rate subsidy.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</a:rPr>
              <a:t>:</a:t>
            </a:r>
          </a:p>
          <a:p>
            <a:r>
              <a:rPr lang="en-US" sz="1600" dirty="0">
                <a:solidFill>
                  <a:srgbClr val="172B4D"/>
                </a:solidFill>
              </a:rPr>
              <a:t>User is logged in / registered. </a:t>
            </a:r>
          </a:p>
          <a:p>
            <a:pPr marL="0" indent="0">
              <a:buNone/>
            </a:pPr>
            <a:r>
              <a:rPr lang="en-US" sz="1600" u="sng" dirty="0">
                <a:solidFill>
                  <a:srgbClr val="00B0F0"/>
                </a:solidFill>
              </a:rPr>
              <a:t>Pre-Conditions:</a:t>
            </a:r>
          </a:p>
          <a:p>
            <a:r>
              <a:rPr lang="en-US" sz="1600" dirty="0">
                <a:solidFill>
                  <a:srgbClr val="172B4D"/>
                </a:solidFill>
              </a:rPr>
              <a:t>SF Web Calculator calculation is the same as </a:t>
            </a:r>
            <a:r>
              <a:rPr lang="en-US" sz="1600" dirty="0" smtClean="0">
                <a:solidFill>
                  <a:srgbClr val="172B4D"/>
                </a:solidFill>
              </a:rPr>
              <a:t>DFE</a:t>
            </a:r>
          </a:p>
          <a:p>
            <a:r>
              <a:rPr lang="en-US" sz="1600" dirty="0" smtClean="0">
                <a:solidFill>
                  <a:srgbClr val="172B4D"/>
                </a:solidFill>
              </a:rPr>
              <a:t>Customer is identified as SF loyalty program user and is entitled to the SF loyalty offer</a:t>
            </a:r>
            <a:endParaRPr lang="en-US" sz="1600" dirty="0">
              <a:solidFill>
                <a:srgbClr val="172B4D"/>
              </a:solidFill>
            </a:endParaRPr>
          </a:p>
          <a:p>
            <a:pPr marL="0" lv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Acceptance Criteria A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>
                <a:solidFill>
                  <a:srgbClr val="172B4D"/>
                </a:solidFill>
              </a:rPr>
              <a:t>Acceptance Criteria </a:t>
            </a:r>
            <a:r>
              <a:rPr lang="en-US" sz="1600" dirty="0" smtClean="0">
                <a:solidFill>
                  <a:srgbClr val="172B4D"/>
                </a:solidFill>
              </a:rPr>
              <a:t>B</a:t>
            </a:r>
            <a:endParaRPr lang="en-US" sz="1600" dirty="0">
              <a:solidFill>
                <a:srgbClr val="172B4D"/>
              </a:solidFill>
            </a:endParaRP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>
                <a:solidFill>
                  <a:srgbClr val="172B4D"/>
                </a:solidFill>
              </a:rPr>
              <a:t>Acceptance Criteria C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>
                <a:solidFill>
                  <a:srgbClr val="172B4D"/>
                </a:solidFill>
              </a:rPr>
              <a:t>Acceptance Criteria </a:t>
            </a:r>
            <a:r>
              <a:rPr lang="en-US" sz="1600" dirty="0" smtClean="0">
                <a:solidFill>
                  <a:srgbClr val="172B4D"/>
                </a:solidFill>
              </a:rPr>
              <a:t>D</a:t>
            </a:r>
            <a:endParaRPr lang="en-US" sz="1600" dirty="0">
              <a:solidFill>
                <a:srgbClr val="172B4D"/>
              </a:solidFill>
            </a:endParaRPr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794127" y="1048658"/>
            <a:ext cx="1229710" cy="38888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10268610" y="1048658"/>
            <a:ext cx="399393" cy="388881"/>
          </a:xfrm>
          <a:prstGeom prst="ellipse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mpliance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238949" y="86098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PO (BA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)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845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/>
              <a:t>ES-S 004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72800" y="1720712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MW Financial</a:t>
            </a:r>
            <a:r>
              <a:rPr lang="en-US" sz="18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Services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Welcome!</a:t>
            </a:r>
            <a:r>
              <a:rPr lang="en-US" sz="18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u="sng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p Introduction goes here,</a:t>
            </a:r>
            <a:endParaRPr lang="en-US" sz="900" u="sng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Helpline: XX-XXXX-XXX</a:t>
            </a:r>
          </a:p>
        </p:txBody>
      </p:sp>
      <p:sp>
        <p:nvSpPr>
          <p:cNvPr id="9" name="Rectangle 8"/>
          <p:cNvSpPr/>
          <p:nvPr/>
        </p:nvSpPr>
        <p:spPr>
          <a:xfrm>
            <a:off x="647534" y="4463912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Login</a:t>
            </a:r>
          </a:p>
        </p:txBody>
      </p:sp>
      <p:sp>
        <p:nvSpPr>
          <p:cNvPr id="10" name="Rectangle 9"/>
          <p:cNvSpPr/>
          <p:nvPr/>
        </p:nvSpPr>
        <p:spPr>
          <a:xfrm>
            <a:off x="1803672" y="4463911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Registration</a:t>
            </a:r>
          </a:p>
        </p:txBody>
      </p:sp>
      <p:sp>
        <p:nvSpPr>
          <p:cNvPr id="13" name="Rectangle 12"/>
          <p:cNvSpPr/>
          <p:nvPr/>
        </p:nvSpPr>
        <p:spPr>
          <a:xfrm>
            <a:off x="9062824" y="1685108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/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BMW Financial Services</a:t>
            </a:r>
          </a:p>
          <a:p>
            <a:pPr algn="ctr"/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/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Welcome! 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u="sng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lease Click here to understand our Application Process,</a:t>
            </a:r>
            <a:endParaRPr lang="en-US" sz="900" u="sng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Helpline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: XX-XXXX-XXX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258300" y="4232283"/>
            <a:ext cx="2217042" cy="315311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ancel &amp; </a:t>
            </a:r>
            <a:r>
              <a:rPr lang="en-US" sz="1500" b="0" i="0" u="none" baseline="0" dirty="0" err="1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Goto</a:t>
            </a:r>
            <a:r>
              <a:rPr lang="en-US" sz="15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Main Page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258300" y="3856807"/>
            <a:ext cx="2217042" cy="315311"/>
          </a:xfrm>
          <a:prstGeom prst="rect">
            <a:avLst/>
          </a:prstGeom>
          <a:solidFill>
            <a:srgbClr val="00B0F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5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reate New Application</a:t>
            </a:r>
            <a:r>
              <a:rPr lang="en-US" sz="1500" dirty="0">
                <a:solidFill>
                  <a:srgbClr val="666666"/>
                </a:solidFill>
                <a:latin typeface="BMW Group Condensed" panose="020B0606020202020204" pitchFamily="34" charset="0"/>
              </a:rPr>
              <a:t>.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47742" y="1720712"/>
            <a:ext cx="2470137" cy="4400689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3800" y="1749784"/>
            <a:ext cx="2472847" cy="4367627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9258300" y="3441092"/>
            <a:ext cx="2217042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5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heck Application Status</a:t>
            </a:r>
            <a:endParaRPr lang="en-US" sz="15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4096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F-EP-005: </a:t>
            </a:r>
            <a:r>
              <a:rPr lang="en-US" b="0" dirty="0" smtClean="0"/>
              <a:t>Selected </a:t>
            </a:r>
            <a:r>
              <a:rPr lang="en-US" b="0" dirty="0"/>
              <a:t>Financial Produc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ES-S </a:t>
            </a:r>
            <a:r>
              <a:rPr lang="en-US" dirty="0">
                <a:solidFill>
                  <a:srgbClr val="0070C0"/>
                </a:solidFill>
              </a:rPr>
              <a:t>001: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/>
              <a:t>As a </a:t>
            </a:r>
            <a:r>
              <a:rPr lang="en-US" dirty="0" smtClean="0"/>
              <a:t>user I </a:t>
            </a:r>
            <a:r>
              <a:rPr lang="en-US" dirty="0"/>
              <a:t>want to select the SF Product and adjust the parameter to my </a:t>
            </a:r>
            <a:r>
              <a:rPr lang="en-US" dirty="0" smtClean="0"/>
              <a:t>needs so </a:t>
            </a:r>
            <a:r>
              <a:rPr lang="en-US" dirty="0"/>
              <a:t>that I can get the SF Product that fits my personal </a:t>
            </a:r>
            <a:r>
              <a:rPr lang="en-US" dirty="0" smtClean="0"/>
              <a:t> needs</a:t>
            </a:r>
          </a:p>
          <a:p>
            <a:pPr marL="0" indent="0">
              <a:buNone/>
            </a:pPr>
            <a:r>
              <a:rPr lang="en-US" dirty="0" smtClean="0">
                <a:solidFill>
                  <a:srgbClr val="0070C0"/>
                </a:solidFill>
              </a:rPr>
              <a:t>Story </a:t>
            </a:r>
            <a:r>
              <a:rPr lang="en-US" dirty="0">
                <a:solidFill>
                  <a:srgbClr val="0070C0"/>
                </a:solidFill>
              </a:rPr>
              <a:t>ID: ES-S </a:t>
            </a:r>
            <a:r>
              <a:rPr lang="en-US" dirty="0" smtClean="0">
                <a:solidFill>
                  <a:srgbClr val="0070C0"/>
                </a:solidFill>
              </a:rPr>
              <a:t>002: </a:t>
            </a:r>
          </a:p>
          <a:p>
            <a:pPr marL="0" indent="0">
              <a:buNone/>
            </a:pPr>
            <a:r>
              <a:rPr lang="en-US" dirty="0"/>
              <a:t>As a </a:t>
            </a:r>
            <a:r>
              <a:rPr lang="en-US" dirty="0" smtClean="0"/>
              <a:t>user I </a:t>
            </a:r>
            <a:r>
              <a:rPr lang="en-US" dirty="0"/>
              <a:t>want to add associated products to the </a:t>
            </a:r>
            <a:r>
              <a:rPr lang="en-US" dirty="0" smtClean="0"/>
              <a:t>finance offer so </a:t>
            </a:r>
            <a:r>
              <a:rPr lang="en-US" dirty="0"/>
              <a:t>that I can add vehicle </a:t>
            </a:r>
            <a:r>
              <a:rPr lang="en-US" dirty="0" smtClean="0"/>
              <a:t>accessories </a:t>
            </a:r>
            <a:r>
              <a:rPr lang="en-US" dirty="0"/>
              <a:t>and etc. to the to be financed </a:t>
            </a:r>
            <a:r>
              <a:rPr lang="en-US" dirty="0" smtClean="0"/>
              <a:t>amount</a:t>
            </a:r>
          </a:p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ES-S </a:t>
            </a:r>
            <a:r>
              <a:rPr lang="en-US" dirty="0" smtClean="0">
                <a:solidFill>
                  <a:srgbClr val="0070C0"/>
                </a:solidFill>
              </a:rPr>
              <a:t>003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/>
              <a:t>As a </a:t>
            </a:r>
            <a:r>
              <a:rPr lang="en-US" dirty="0" smtClean="0"/>
              <a:t>user I </a:t>
            </a:r>
            <a:r>
              <a:rPr lang="en-US" dirty="0"/>
              <a:t>want to select Herald Leasing </a:t>
            </a:r>
            <a:r>
              <a:rPr lang="en-US" dirty="0" smtClean="0"/>
              <a:t>products so </a:t>
            </a:r>
            <a:r>
              <a:rPr lang="en-US" dirty="0"/>
              <a:t>that </a:t>
            </a:r>
            <a:r>
              <a:rPr lang="en-US" dirty="0" smtClean="0"/>
              <a:t>I can </a:t>
            </a:r>
            <a:r>
              <a:rPr lang="en-US" dirty="0"/>
              <a:t>chose leasing </a:t>
            </a:r>
            <a:r>
              <a:rPr lang="en-US" dirty="0" smtClean="0"/>
              <a:t>products</a:t>
            </a:r>
          </a:p>
          <a:p>
            <a:pPr marL="0" indent="0">
              <a:buNone/>
            </a:pPr>
            <a:r>
              <a:rPr lang="en-US" dirty="0" smtClean="0">
                <a:solidFill>
                  <a:srgbClr val="0070C0"/>
                </a:solidFill>
              </a:rPr>
              <a:t>Story </a:t>
            </a:r>
            <a:r>
              <a:rPr lang="en-US" dirty="0">
                <a:solidFill>
                  <a:srgbClr val="0070C0"/>
                </a:solidFill>
              </a:rPr>
              <a:t>ID: ES-S </a:t>
            </a:r>
            <a:r>
              <a:rPr lang="en-US" dirty="0" smtClean="0">
                <a:solidFill>
                  <a:srgbClr val="0070C0"/>
                </a:solidFill>
              </a:rPr>
              <a:t>004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/>
              <a:t>As a existing customer and </a:t>
            </a:r>
            <a:r>
              <a:rPr lang="en-US" dirty="0" err="1"/>
              <a:t>eApp</a:t>
            </a:r>
            <a:r>
              <a:rPr lang="en-US" dirty="0"/>
              <a:t> </a:t>
            </a:r>
            <a:r>
              <a:rPr lang="en-US" dirty="0" smtClean="0"/>
              <a:t>user I </a:t>
            </a:r>
            <a:r>
              <a:rPr lang="en-US" dirty="0"/>
              <a:t>want to be able to select the loyalty SF </a:t>
            </a:r>
            <a:r>
              <a:rPr lang="en-US" dirty="0" smtClean="0"/>
              <a:t>offer so </a:t>
            </a:r>
            <a:r>
              <a:rPr lang="en-US" dirty="0"/>
              <a:t>that </a:t>
            </a:r>
            <a:r>
              <a:rPr lang="en-US" dirty="0" smtClean="0"/>
              <a:t>I </a:t>
            </a:r>
            <a:r>
              <a:rPr lang="en-US" dirty="0"/>
              <a:t>can enjoy the loyalty program interest rate subsidy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9909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4813" y="1480628"/>
            <a:ext cx="10026869" cy="448879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/>
              <a:t>ES-S 003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151820" y="5969426"/>
            <a:ext cx="4456386" cy="709170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44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ample</a:t>
            </a:r>
          </a:p>
        </p:txBody>
      </p:sp>
    </p:spTree>
    <p:extLst>
      <p:ext uri="{BB962C8B-B14F-4D97-AF65-F5344CB8AC3E}">
        <p14:creationId xmlns:p14="http://schemas.microsoft.com/office/powerpoint/2010/main" val="3167298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/>
              <a:t>ES-S 004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Process Flow: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1304155" y="2172128"/>
            <a:ext cx="1114097" cy="3756484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Easy Finance 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Registration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Process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441112" y="306386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2418252" y="517827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7266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/>
              <a:t>ES-S 004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  <a:ln w="3175">
            <a:solidFill>
              <a:schemeClr val="tx1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Sequence Flow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786630" y="1619829"/>
            <a:ext cx="1397876" cy="420414"/>
          </a:xfrm>
          <a:prstGeom prst="rect">
            <a:avLst/>
          </a:prstGeom>
          <a:solidFill>
            <a:srgbClr val="B1C3B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140730" y="1619829"/>
            <a:ext cx="1397876" cy="420414"/>
          </a:xfrm>
          <a:prstGeom prst="rect">
            <a:avLst/>
          </a:prstGeom>
          <a:solidFill>
            <a:srgbClr val="B2CA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94830" y="1619829"/>
            <a:ext cx="1397876" cy="420414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848930" y="1619829"/>
            <a:ext cx="1397876" cy="420414"/>
          </a:xfrm>
          <a:prstGeom prst="rect">
            <a:avLst/>
          </a:prstGeom>
          <a:solidFill>
            <a:srgbClr val="FFC2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045880" y="1619829"/>
            <a:ext cx="1397876" cy="420414"/>
          </a:xfrm>
          <a:prstGeom prst="rect">
            <a:avLst/>
          </a:prstGeom>
          <a:solidFill>
            <a:srgbClr val="FEE37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>
            <a:stCxn id="6" idx="2"/>
          </p:cNvCxnSpPr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6971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S-S </a:t>
            </a:r>
            <a:r>
              <a:rPr lang="en-US" dirty="0" smtClean="0"/>
              <a:t>001</a:t>
            </a:r>
            <a:r>
              <a:rPr lang="en-US" dirty="0" smtClean="0"/>
              <a:t>: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9" y="1048659"/>
            <a:ext cx="9560660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user I want to select the SF Product and adjust the parameter to my needs so that I can get the SF Product that fits my personal  needs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>
                <a:solidFill>
                  <a:srgbClr val="172B4D"/>
                </a:solidFill>
              </a:rPr>
              <a:t>User is logged in / registered. 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 smtClean="0">
                <a:solidFill>
                  <a:srgbClr val="172B4D"/>
                </a:solidFill>
              </a:rPr>
              <a:t>SF </a:t>
            </a:r>
            <a:r>
              <a:rPr lang="en-US" sz="1600" dirty="0">
                <a:solidFill>
                  <a:srgbClr val="172B4D"/>
                </a:solidFill>
              </a:rPr>
              <a:t>Web Calculator calculation is the same as </a:t>
            </a:r>
            <a:r>
              <a:rPr lang="en-US" sz="1600" dirty="0" smtClean="0">
                <a:solidFill>
                  <a:srgbClr val="172B4D"/>
                </a:solidFill>
              </a:rPr>
              <a:t>DFE.</a:t>
            </a:r>
          </a:p>
          <a:p>
            <a:endParaRPr lang="en-US" sz="1600" dirty="0" smtClean="0">
              <a:solidFill>
                <a:srgbClr val="172B4D"/>
              </a:solidFill>
            </a:endParaRPr>
          </a:p>
          <a:p>
            <a:pPr marL="0" lv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Acceptance Criteria A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>
                <a:solidFill>
                  <a:srgbClr val="172B4D"/>
                </a:solidFill>
              </a:rPr>
              <a:t>Acceptance Criteria </a:t>
            </a:r>
            <a:r>
              <a:rPr lang="en-US" sz="1600" dirty="0" smtClean="0">
                <a:solidFill>
                  <a:srgbClr val="172B4D"/>
                </a:solidFill>
              </a:rPr>
              <a:t>B</a:t>
            </a:r>
            <a:endParaRPr lang="en-US" sz="1600" dirty="0">
              <a:solidFill>
                <a:srgbClr val="172B4D"/>
              </a:solidFill>
            </a:endParaRP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>
                <a:solidFill>
                  <a:srgbClr val="172B4D"/>
                </a:solidFill>
              </a:rPr>
              <a:t>Acceptance Criteria C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>
                <a:solidFill>
                  <a:srgbClr val="172B4D"/>
                </a:solidFill>
              </a:rPr>
              <a:t>Acceptance Criteria </a:t>
            </a:r>
            <a:r>
              <a:rPr lang="en-US" sz="1600" dirty="0" smtClean="0">
                <a:solidFill>
                  <a:srgbClr val="172B4D"/>
                </a:solidFill>
              </a:rPr>
              <a:t>D</a:t>
            </a:r>
            <a:endParaRPr lang="en-US" sz="1600" dirty="0">
              <a:solidFill>
                <a:srgbClr val="172B4D"/>
              </a:solidFill>
            </a:endParaRPr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794127" y="1048658"/>
            <a:ext cx="1229710" cy="38888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10268610" y="1048658"/>
            <a:ext cx="399393" cy="388881"/>
          </a:xfrm>
          <a:prstGeom prst="ellipse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mpliance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238949" y="86098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PO (BA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)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2923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/>
              <a:t>ES-S 001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0292" y="1854798"/>
            <a:ext cx="1827458" cy="3957056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935191" y="1719668"/>
            <a:ext cx="3160809" cy="224676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If AG_VG code from parent page is correct, SF Web Calculator will provid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SF</a:t>
            </a:r>
            <a:r>
              <a:rPr lang="en-US" sz="14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</a:t>
            </a:r>
            <a:r>
              <a:rPr lang="en-US" sz="14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Standard </a:t>
            </a:r>
            <a:r>
              <a:rPr lang="en-US" sz="1400" dirty="0">
                <a:solidFill>
                  <a:srgbClr val="000000"/>
                </a:solidFill>
                <a:latin typeface="BMW Group Condensed" panose="020B0606020202020204" pitchFamily="34" charset="0"/>
              </a:rPr>
              <a:t>and Campaign Product</a:t>
            </a:r>
            <a:endParaRPr lang="en-US" sz="1400" b="0" i="0" u="none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  <a:p>
            <a:pPr marL="285750" indent="-28575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Financial Options/Parameters, down payment, balloon percentage, etc. </a:t>
            </a:r>
          </a:p>
          <a:p>
            <a:pPr marL="285750" indent="-28575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Information</a:t>
            </a:r>
            <a:r>
              <a:rPr lang="en-US" sz="14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to generate quotation for customer;</a:t>
            </a:r>
          </a:p>
          <a:p>
            <a:pPr marL="285750" indent="-28575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400" baseline="0" dirty="0">
              <a:solidFill>
                <a:srgbClr val="000000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Quotation content and design can refer to DMO.</a:t>
            </a:r>
            <a:endParaRPr lang="en-US" sz="14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7075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4813" y="1480628"/>
            <a:ext cx="10026869" cy="448879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/>
              <a:t>ES-S 001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151820" y="5969426"/>
            <a:ext cx="4456386" cy="709170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44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ample</a:t>
            </a:r>
          </a:p>
        </p:txBody>
      </p:sp>
    </p:spTree>
    <p:extLst>
      <p:ext uri="{BB962C8B-B14F-4D97-AF65-F5344CB8AC3E}">
        <p14:creationId xmlns:p14="http://schemas.microsoft.com/office/powerpoint/2010/main" val="538603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/>
              <a:t>ES-S 001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Process Flow: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1304155" y="2172128"/>
            <a:ext cx="1114097" cy="3756484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Easy Finance 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Registration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Process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441112" y="306386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2418252" y="517827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3009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/>
              <a:t>ES-S 001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  <a:ln w="3175">
            <a:solidFill>
              <a:schemeClr val="tx1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Sequence Flow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786630" y="1619829"/>
            <a:ext cx="1397876" cy="420414"/>
          </a:xfrm>
          <a:prstGeom prst="rect">
            <a:avLst/>
          </a:prstGeom>
          <a:solidFill>
            <a:srgbClr val="B1C3B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140730" y="1619829"/>
            <a:ext cx="1397876" cy="420414"/>
          </a:xfrm>
          <a:prstGeom prst="rect">
            <a:avLst/>
          </a:prstGeom>
          <a:solidFill>
            <a:srgbClr val="B2CA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94830" y="1619829"/>
            <a:ext cx="1397876" cy="420414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848930" y="1619829"/>
            <a:ext cx="1397876" cy="420414"/>
          </a:xfrm>
          <a:prstGeom prst="rect">
            <a:avLst/>
          </a:prstGeom>
          <a:solidFill>
            <a:srgbClr val="FFC2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045880" y="1619829"/>
            <a:ext cx="1397876" cy="420414"/>
          </a:xfrm>
          <a:prstGeom prst="rect">
            <a:avLst/>
          </a:prstGeom>
          <a:solidFill>
            <a:srgbClr val="FEE37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>
            <a:stCxn id="6" idx="2"/>
          </p:cNvCxnSpPr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3263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S-S </a:t>
            </a:r>
            <a:r>
              <a:rPr lang="en-US" dirty="0" smtClean="0"/>
              <a:t>002</a:t>
            </a:r>
            <a:r>
              <a:rPr lang="en-US" dirty="0" smtClean="0"/>
              <a:t>: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user I want to add associated products to the finance offer so that I can add vehicle accessories and etc. </a:t>
            </a: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to </a:t>
            </a:r>
            <a:r>
              <a:rPr lang="en-US" dirty="0"/>
              <a:t>the to be financed amount</a:t>
            </a:r>
          </a:p>
          <a:p>
            <a:pPr marL="0" indent="0">
              <a:buNone/>
            </a:pPr>
            <a:r>
              <a:rPr lang="en-US" sz="1600" u="sng" dirty="0">
                <a:solidFill>
                  <a:srgbClr val="00B0F0"/>
                </a:solidFill>
              </a:rPr>
              <a:t>Assumptions:</a:t>
            </a:r>
          </a:p>
          <a:p>
            <a:r>
              <a:rPr lang="en-US" sz="1600" dirty="0">
                <a:solidFill>
                  <a:srgbClr val="172B4D"/>
                </a:solidFill>
              </a:rPr>
              <a:t>User is logged in / registered. </a:t>
            </a:r>
          </a:p>
          <a:p>
            <a:pPr marL="0" indent="0">
              <a:buNone/>
            </a:pPr>
            <a:r>
              <a:rPr lang="en-US" sz="1600" u="sng" dirty="0">
                <a:solidFill>
                  <a:srgbClr val="00B0F0"/>
                </a:solidFill>
              </a:rPr>
              <a:t>Pre-Conditions:</a:t>
            </a:r>
          </a:p>
          <a:p>
            <a:r>
              <a:rPr lang="en-US" sz="1600" dirty="0">
                <a:solidFill>
                  <a:srgbClr val="172B4D"/>
                </a:solidFill>
              </a:rPr>
              <a:t>SF Web Calculator calculation is the same as DFE</a:t>
            </a:r>
          </a:p>
          <a:p>
            <a:pPr marL="0" lv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Acceptance Criteria A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>
                <a:solidFill>
                  <a:srgbClr val="172B4D"/>
                </a:solidFill>
              </a:rPr>
              <a:t>Acceptance Criteria </a:t>
            </a:r>
            <a:r>
              <a:rPr lang="en-US" sz="1600" dirty="0" smtClean="0">
                <a:solidFill>
                  <a:srgbClr val="172B4D"/>
                </a:solidFill>
              </a:rPr>
              <a:t>B</a:t>
            </a:r>
            <a:endParaRPr lang="en-US" sz="1600" dirty="0">
              <a:solidFill>
                <a:srgbClr val="172B4D"/>
              </a:solidFill>
            </a:endParaRP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>
                <a:solidFill>
                  <a:srgbClr val="172B4D"/>
                </a:solidFill>
              </a:rPr>
              <a:t>Acceptance Criteria C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>
                <a:solidFill>
                  <a:srgbClr val="172B4D"/>
                </a:solidFill>
              </a:rPr>
              <a:t>Acceptance Criteria </a:t>
            </a:r>
            <a:r>
              <a:rPr lang="en-US" sz="1600" dirty="0" smtClean="0">
                <a:solidFill>
                  <a:srgbClr val="172B4D"/>
                </a:solidFill>
              </a:rPr>
              <a:t>D</a:t>
            </a:r>
            <a:endParaRPr lang="en-US" sz="1600" dirty="0">
              <a:solidFill>
                <a:srgbClr val="172B4D"/>
              </a:solidFill>
            </a:endParaRPr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794127" y="1048658"/>
            <a:ext cx="1229710" cy="38888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10268610" y="1048658"/>
            <a:ext cx="399393" cy="388881"/>
          </a:xfrm>
          <a:prstGeom prst="ellipse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mpliance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238949" y="86098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PO (BA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)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8646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/>
              <a:t>ES-S 00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289" b="9286"/>
          <a:stretch/>
        </p:blipFill>
        <p:spPr>
          <a:xfrm>
            <a:off x="2260777" y="1272848"/>
            <a:ext cx="1634948" cy="4848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3271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heme/theme1.xml><?xml version="1.0" encoding="utf-8"?>
<a:theme xmlns:a="http://schemas.openxmlformats.org/drawingml/2006/main" name="BMW Group 16:9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CCCC"/>
        </a:solidFill>
        <a:ln w="9525">
          <a:solidFill>
            <a:srgbClr val="CCCCCC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BMWGroup_FS_BMW+MINI+RR_Zusatzbegriff_E_16zu9.pptx" id="{84844328-F1CC-4A35-9085-C869E2533542}" vid="{09338282-BEEE-4034-A323-258CEF5B5013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enutzerdefiniert 4">
      <a:majorFont>
        <a:latin typeface="BMW Group"/>
        <a:ea typeface=""/>
        <a:cs typeface=""/>
      </a:majorFont>
      <a:minorFont>
        <a:latin typeface="BMW Group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MWGroup_FS_BMW+MINI+RR_E_16zu9</Template>
  <TotalTime>0</TotalTime>
  <Words>726</Words>
  <Application>Microsoft Office PowerPoint</Application>
  <PresentationFormat>Widescreen</PresentationFormat>
  <Paragraphs>211</Paragraphs>
  <Slides>22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0" baseType="lpstr">
      <vt:lpstr>BMW Type Global Pro Regular</vt:lpstr>
      <vt:lpstr>Arial</vt:lpstr>
      <vt:lpstr>BMW Group</vt:lpstr>
      <vt:lpstr>BMW Group Condensed</vt:lpstr>
      <vt:lpstr>BMW Group Condensed Bold</vt:lpstr>
      <vt:lpstr>BMW Group Light</vt:lpstr>
      <vt:lpstr>Symbol</vt:lpstr>
      <vt:lpstr>BMW Group 16:9</vt:lpstr>
      <vt:lpstr>PowerPoint Presentation</vt:lpstr>
      <vt:lpstr>EF-EP-005: Selected Financial Product</vt:lpstr>
      <vt:lpstr>Story ID: ES-S 001: </vt:lpstr>
      <vt:lpstr>Story ID: ES-S 001 </vt:lpstr>
      <vt:lpstr>Story ID: ES-S 001</vt:lpstr>
      <vt:lpstr>Story ID: ES-S 001</vt:lpstr>
      <vt:lpstr>Story ID: ES-S 001 </vt:lpstr>
      <vt:lpstr>Story ID: ES-S 002: </vt:lpstr>
      <vt:lpstr>Story ID: ES-S 002</vt:lpstr>
      <vt:lpstr>Story ID: ES-S 002 </vt:lpstr>
      <vt:lpstr>Story ID: ES-S 002 </vt:lpstr>
      <vt:lpstr>Story ID: ES-S 002</vt:lpstr>
      <vt:lpstr>Story ID: ES-S 003: </vt:lpstr>
      <vt:lpstr>Story ID: ES-S 003</vt:lpstr>
      <vt:lpstr>Story ID: ES-S 003</vt:lpstr>
      <vt:lpstr>Story ID: ES-S 003</vt:lpstr>
      <vt:lpstr>Story ID: ES-S 003</vt:lpstr>
      <vt:lpstr>Story ID: ES-S 004: </vt:lpstr>
      <vt:lpstr>Story ID: ES-S 004</vt:lpstr>
      <vt:lpstr>Story ID: ES-S 003</vt:lpstr>
      <vt:lpstr>Story ID: ES-S 004</vt:lpstr>
      <vt:lpstr>Story ID: ES-S 004</vt:lpstr>
    </vt:vector>
  </TitlesOfParts>
  <Company>BMW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felein Maximilian, SF3-CN-M</dc:creator>
  <cp:lastModifiedBy>Befelein Maximilian, SF5-CN-V-23</cp:lastModifiedBy>
  <cp:revision>189</cp:revision>
  <dcterms:created xsi:type="dcterms:W3CDTF">2017-04-27T07:24:45Z</dcterms:created>
  <dcterms:modified xsi:type="dcterms:W3CDTF">2018-10-09T03:24:26Z</dcterms:modified>
</cp:coreProperties>
</file>